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4"/>
  </p:notesMasterIdLst>
  <p:sldIdLst>
    <p:sldId id="256" r:id="rId3"/>
    <p:sldId id="257" r:id="rId4"/>
    <p:sldId id="275" r:id="rId5"/>
    <p:sldId id="265" r:id="rId6"/>
    <p:sldId id="273" r:id="rId7"/>
    <p:sldId id="266" r:id="rId8"/>
    <p:sldId id="264" r:id="rId9"/>
    <p:sldId id="260" r:id="rId10"/>
    <p:sldId id="259" r:id="rId11"/>
    <p:sldId id="270" r:id="rId12"/>
    <p:sldId id="272" r:id="rId13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51"/>
    <p:restoredTop sz="94669"/>
  </p:normalViewPr>
  <p:slideViewPr>
    <p:cSldViewPr snapToGrid="0">
      <p:cViewPr>
        <p:scale>
          <a:sx n="100" d="100"/>
          <a:sy n="100" d="100"/>
        </p:scale>
        <p:origin x="1184" y="-43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41404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961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77705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1368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3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5394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8</a:t>
            </a:fld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90EA65-0D7D-DF4B-8E03-70CC2AF9142E}"/>
              </a:ext>
            </a:extLst>
          </p:cNvPr>
          <p:cNvSpPr txBox="1"/>
          <p:nvPr userDrawn="1"/>
        </p:nvSpPr>
        <p:spPr>
          <a:xfrm>
            <a:off x="7516167" y="158750"/>
            <a:ext cx="12738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stellar" panose="020F0502020204030204" pitchFamily="34" charset="0"/>
                <a:cs typeface="Castellar" panose="020F0502020204030204" pitchFamily="34" charset="0"/>
              </a:rPr>
              <a:t>EM</a:t>
            </a:r>
          </a:p>
          <a:p>
            <a:r>
              <a:rPr lang="en-US" dirty="0">
                <a:latin typeface="Kalinga" panose="020B0604020202020204" pitchFamily="34" charset="0"/>
                <a:cs typeface="Kalinga" panose="020B0604020202020204" pitchFamily="34" charset="0"/>
              </a:rPr>
              <a:t>analytic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502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r:id="rId6" imgW="158750" imgH="158750" progId="TCLayout.ActiveDocument.1">
                  <p:embed/>
                </p:oleObj>
              </mc:Choice>
              <mc:Fallback>
                <p:oleObj r:id="rId6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7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ountyhealthrankings.org/" TargetMode="External"/><Relationship Id="rId3" Type="http://schemas.openxmlformats.org/officeDocument/2006/relationships/hyperlink" Target="https://www.kaggle.com/johnjdavisiv/us-counties-covid19-weather-sociohealth-data" TargetMode="External"/><Relationship Id="rId7" Type="http://schemas.openxmlformats.org/officeDocument/2006/relationships/hyperlink" Target="https://www.kff.org/policy-watch/stay-at-home-orders-to-fight-covid19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github.com/nytimes/covid-19-data" TargetMode="External"/><Relationship Id="rId11" Type="http://schemas.openxmlformats.org/officeDocument/2006/relationships/hyperlink" Target="https://www.brookings.edu/blog/up-front/2020/12/08/the-black-white-wealth-gap-left-black-households-more-vulnerable/" TargetMode="External"/><Relationship Id="rId5" Type="http://schemas.openxmlformats.org/officeDocument/2006/relationships/hyperlink" Target="https://ephtracking.cdc.gov/DataExplorer/" TargetMode="External"/><Relationship Id="rId10" Type="http://schemas.openxmlformats.org/officeDocument/2006/relationships/hyperlink" Target="https://archpublichealth.biomedcentral.com/articles/10.1186/s13690-020-00402-5" TargetMode="External"/><Relationship Id="rId4" Type="http://schemas.openxmlformats.org/officeDocument/2006/relationships/hyperlink" Target="https://www.cdc.gov/nchs/covid19/covid-19-mortality-data-files.htm" TargetMode="External"/><Relationship Id="rId9" Type="http://schemas.openxmlformats.org/officeDocument/2006/relationships/hyperlink" Target="https://nam.edu/poor-education-predicts-poor-health-a-challenge-unmet-by-american-medicine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ff.org/uninsured/issue-brief/key-facts-about-the-uninsured-population/" TargetMode="External"/><Relationship Id="rId3" Type="http://schemas.openxmlformats.org/officeDocument/2006/relationships/hyperlink" Target="https://www.future-ed.org/state-education-funding-concentration-matters/" TargetMode="External"/><Relationship Id="rId7" Type="http://schemas.openxmlformats.org/officeDocument/2006/relationships/hyperlink" Target="https://www.penguinrandomhouse.com/books/564989/the-sum-of-us-by-heather-mcghee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apnews.com/article/joe-biden-donald-trump-alabama-georgia-savannah-941ef2bf9b60ee39d6b9fd5e2ce861f7" TargetMode="External"/><Relationship Id="rId11" Type="http://schemas.openxmlformats.org/officeDocument/2006/relationships/hyperlink" Target="https://www.huffpost.com/entry/covid-19-population-density-myth_n_5ff8c68fc5b63642b6fba9eb" TargetMode="External"/><Relationship Id="rId5" Type="http://schemas.openxmlformats.org/officeDocument/2006/relationships/hyperlink" Target="https://pubmed.ncbi.nlm.nih.gov/22239747/" TargetMode="External"/><Relationship Id="rId10" Type="http://schemas.openxmlformats.org/officeDocument/2006/relationships/hyperlink" Target="https://www.scientificamerican.com/article/population-density-does-not-doom-cities-to-pandemic-dangers/" TargetMode="External"/><Relationship Id="rId4" Type="http://schemas.openxmlformats.org/officeDocument/2006/relationships/hyperlink" Target="https://www.commonwealthfund.org/publications/newsletter-article/2021/jan/medical-mistrust-among-black-americans" TargetMode="External"/><Relationship Id="rId9" Type="http://schemas.openxmlformats.org/officeDocument/2006/relationships/hyperlink" Target="https://www.pewresearch.org/fact-tank/2020/09/29/increasing-share-of-americans-favor-a-single-government-program-to-provide-health-care-coverag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3wYWc71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bit.ly/3mKbdoo" TargetMode="Externa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11" Type="http://schemas.openxmlformats.org/officeDocument/2006/relationships/hyperlink" Target="https://bit.ly/3x89YnZ" TargetMode="External"/><Relationship Id="rId5" Type="http://schemas.openxmlformats.org/officeDocument/2006/relationships/image" Target="../media/image1.png"/><Relationship Id="rId10" Type="http://schemas.openxmlformats.org/officeDocument/2006/relationships/hyperlink" Target="https://brook.gs/3acuhqs" TargetMode="External"/><Relationship Id="rId4" Type="http://schemas.openxmlformats.org/officeDocument/2006/relationships/oleObject" Target="../embeddings/oleObject4.bin"/><Relationship Id="rId9" Type="http://schemas.openxmlformats.org/officeDocument/2006/relationships/hyperlink" Target="https://bit.ly/3agLTBj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absoft.co/3dYTbuA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bit.ly/3wYWc71" TargetMode="External"/><Relationship Id="rId4" Type="http://schemas.openxmlformats.org/officeDocument/2006/relationships/hyperlink" Target="https://bit.ly/3mKbdoo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bit.ly/3mKbdoo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commonwealthfund.org/publications/newsletter-article/2021/jan/medical-mistrust-among-black-americans" TargetMode="External"/><Relationship Id="rId11" Type="http://schemas.openxmlformats.org/officeDocument/2006/relationships/image" Target="../media/image13.png"/><Relationship Id="rId5" Type="http://schemas.openxmlformats.org/officeDocument/2006/relationships/hyperlink" Target="https://tabsoft.co/3dYTbuA" TargetMode="External"/><Relationship Id="rId10" Type="http://schemas.openxmlformats.org/officeDocument/2006/relationships/image" Target="../media/image12.png"/><Relationship Id="rId4" Type="http://schemas.openxmlformats.org/officeDocument/2006/relationships/hyperlink" Target="https://bit.ly/3wYWc71" TargetMode="Externa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bit.ly/3wYWc71" TargetMode="External"/><Relationship Id="rId5" Type="http://schemas.openxmlformats.org/officeDocument/2006/relationships/hyperlink" Target="https://bit.ly/3mKbdoo" TargetMode="Externa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7.png"/><Relationship Id="rId4" Type="http://schemas.openxmlformats.org/officeDocument/2006/relationships/image" Target="../media/image22.png"/><Relationship Id="rId9" Type="http://schemas.openxmlformats.org/officeDocument/2006/relationships/hyperlink" Target="https://ephtracking.cdc.gov/DataExplorer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absoft.co/3dYTbuA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www.commonwealthfund.org/publications/newsletter-article/2021/jan/medical-mistrust-among-black-americans" TargetMode="External"/><Relationship Id="rId4" Type="http://schemas.openxmlformats.org/officeDocument/2006/relationships/hyperlink" Target="https://www.penguinrandomhouse.com/books/564989/the-sum-of-us-by-heather-mcghe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8728074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dirty="0"/>
              <a:t>COVID Deaths &amp; Societal Factors in US </a:t>
            </a:r>
            <a:r>
              <a:rPr lang="en-US" dirty="0"/>
              <a:t>– Executive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April 17, 2021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Elizabeth Mill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182468" y="1004341"/>
            <a:ext cx="8087462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inks to sources</a:t>
            </a:r>
          </a:p>
          <a:p>
            <a:r>
              <a:rPr lang="en-US" sz="1200" dirty="0"/>
              <a:t>The dataset</a:t>
            </a:r>
          </a:p>
          <a:p>
            <a:r>
              <a:rPr lang="en-US" sz="1200" dirty="0">
                <a:hlinkClick r:id="rId3"/>
              </a:rPr>
              <a:t>https://www.kaggle.com/johnjdavisiv/us-counties-covid19-weather-sociohealth-data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DC COVID death by county</a:t>
            </a:r>
          </a:p>
          <a:p>
            <a:r>
              <a:rPr lang="en-US" sz="1200" dirty="0">
                <a:hlinkClick r:id="rId4"/>
              </a:rPr>
              <a:t>https://www.cdc.gov/nchs/covid19/covid-19-mortality-data-files.htm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DC stay-at-home order information</a:t>
            </a:r>
          </a:p>
          <a:p>
            <a:r>
              <a:rPr lang="en-US" sz="1200" dirty="0">
                <a:hlinkClick r:id="rId5"/>
              </a:rPr>
              <a:t>https://ephtracking.cdc.gov/DataExplorer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New York Times COVID case and death counts</a:t>
            </a:r>
          </a:p>
          <a:p>
            <a:r>
              <a:rPr lang="en-US" sz="1200" dirty="0">
                <a:hlinkClick r:id="rId6"/>
              </a:rPr>
              <a:t>https://github.com/nytimes/covid-19-data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Kaiser Family Foundation (stay at home orders)</a:t>
            </a:r>
          </a:p>
          <a:p>
            <a:r>
              <a:rPr lang="en-US" sz="1200" dirty="0">
                <a:hlinkClick r:id="rId7"/>
              </a:rPr>
              <a:t>https://www.kff.org/policy-watch/stay-at-home-orders-to-fight-covid19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County Health Rankings</a:t>
            </a:r>
          </a:p>
          <a:p>
            <a:r>
              <a:rPr lang="en-US" sz="1200" dirty="0">
                <a:hlinkClick r:id="rId8"/>
              </a:rPr>
              <a:t>https://www.countyhealthrankings.org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Poor education predicts poor health</a:t>
            </a:r>
          </a:p>
          <a:p>
            <a:r>
              <a:rPr lang="en-US" sz="1200" dirty="0">
                <a:hlinkClick r:id="rId9"/>
              </a:rPr>
              <a:t>https://nam.edu/poor-education-predicts-poor-health-a-challenge-unmet-by-american-medicine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Interventions to reduce educational inequalities and improve health</a:t>
            </a:r>
          </a:p>
          <a:p>
            <a:r>
              <a:rPr lang="en-US" sz="1200" dirty="0">
                <a:hlinkClick r:id="rId10"/>
              </a:rPr>
              <a:t>https://archpublichealth.biomedcentral.com/articles/10.1186/s13690-020-00402-5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Relationship between Black/white wealth gap and COVID</a:t>
            </a:r>
          </a:p>
          <a:p>
            <a:r>
              <a:rPr lang="en-US" sz="1200" dirty="0">
                <a:hlinkClick r:id="rId11"/>
              </a:rPr>
              <a:t>https://www.brookings.edu/blog/up-front/2020/12/08/the-black-white-wealth-gap-left-black-households-more-vulnerable/</a:t>
            </a:r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98157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, continued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369844" y="1094282"/>
            <a:ext cx="8087462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ower income areas have less revenue for education</a:t>
            </a:r>
          </a:p>
          <a:p>
            <a:r>
              <a:rPr lang="en-US" sz="1200" dirty="0">
                <a:hlinkClick r:id="rId3"/>
              </a:rPr>
              <a:t>https://www.future-ed.org/state-education-funding-concentration-matters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Suggested interventions for the demonstrated poorer medical treatment received by Black Americans</a:t>
            </a:r>
          </a:p>
          <a:p>
            <a:r>
              <a:rPr lang="en-US" sz="1200" dirty="0">
                <a:hlinkClick r:id="rId4"/>
              </a:rPr>
              <a:t>https://www.commonwealthfund.org/publications/newsletter-article/2021/jan/medical-mistrust-among-black-americans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Black Americans are undertreated for pain</a:t>
            </a:r>
          </a:p>
          <a:p>
            <a:r>
              <a:rPr lang="en-US" sz="1200" dirty="0">
                <a:hlinkClick r:id="rId5"/>
              </a:rPr>
              <a:t>https://pubmed.ncbi.nlm.nih.gov/22239747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Southern (“red”) states have comparatively low vaccination rates</a:t>
            </a:r>
          </a:p>
          <a:p>
            <a:r>
              <a:rPr lang="en-US" sz="1200" dirty="0">
                <a:hlinkClick r:id="rId6"/>
              </a:rPr>
              <a:t>https://apnews.com/article/joe-biden-donald-trump-alabama-georgia-savannah-941ef2bf9b60ee39d6b9fd5e2ce861f7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>
                <a:hlinkClick r:id="rId7"/>
              </a:rPr>
              <a:t>McGhee, Heather. _The Sum of Us: What Racism Costs Everyone and How We Can Prosper Together._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Kaiser Family Foundation: uninsured statistics</a:t>
            </a:r>
          </a:p>
          <a:p>
            <a:r>
              <a:rPr lang="en-US" sz="1200" dirty="0">
                <a:hlinkClick r:id="rId8"/>
              </a:rPr>
              <a:t>https://www.kff.org/uninsured/issue-brief/key-facts-about-the-uninsured-population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Pew Research 63% of US thinks there should be one government program that provides health care coverage</a:t>
            </a:r>
          </a:p>
          <a:p>
            <a:r>
              <a:rPr lang="en-US" sz="1200" dirty="0">
                <a:hlinkClick r:id="rId9"/>
              </a:rPr>
              <a:t>https://www.pewresearch.org/fact-tank/2020/09/29/increasing-share-of-americans-favor-a-single-government-program-to-provide-health-care-coverage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Population density has not been connected to COVID death rate</a:t>
            </a:r>
          </a:p>
          <a:p>
            <a:r>
              <a:rPr lang="en-US" sz="1200" dirty="0">
                <a:hlinkClick r:id="rId10"/>
              </a:rPr>
              <a:t>https://www.scientificamerican.com/article/population-density-does-not-doom-cities-to-pandemic-dangers/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>
                <a:hlinkClick r:id="rId11"/>
              </a:rPr>
              <a:t>https://www.huffpost.com/entry/covid-19-population-density-myth_n_5ff8c68fc5b63642b6fba9eb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593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755704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Executive Summary: Which societal factors correlate with COVID death rate in US counties </a:t>
            </a:r>
            <a:r>
              <a:rPr lang="en-US" sz="1600" u="sng" dirty="0"/>
              <a:t>and</a:t>
            </a:r>
            <a:r>
              <a:rPr lang="en-US" sz="1600" dirty="0"/>
              <a:t> have value in predicting the geographical areas where most help is needed?</a:t>
            </a:r>
            <a:endParaRPr dirty="0"/>
          </a:p>
        </p:txBody>
      </p:sp>
      <p:sp>
        <p:nvSpPr>
          <p:cNvPr id="67" name="Google Shape;67;p2"/>
          <p:cNvSpPr txBox="1"/>
          <p:nvPr/>
        </p:nvSpPr>
        <p:spPr>
          <a:xfrm>
            <a:off x="4414697" y="1510062"/>
            <a:ext cx="4512446" cy="158729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lvl="0">
              <a:lnSpc>
                <a:spcPct val="115000"/>
              </a:lnSpc>
              <a:buSzPts val="1100"/>
            </a:pPr>
            <a:r>
              <a:rPr lang="en-US" sz="1100" b="1" dirty="0"/>
              <a:t>Percent population of the following correlated most strongly with COVID death rate</a:t>
            </a:r>
            <a:r>
              <a:rPr lang="en-AU" sz="11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 1</a:t>
            </a:r>
            <a:r>
              <a:rPr lang="en-US" sz="1100" b="1" dirty="0"/>
              <a:t>: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Without a high school diploma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Black American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Fair or poor health status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Children in poverty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Non-Hispanic white (negative correlation)</a:t>
            </a: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DDCF8B46-4320-604A-8DBE-5A5F491C90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39" y="1157975"/>
            <a:ext cx="4108380" cy="208396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BB68FC1E-3671-7D49-9D02-EC66BD1C9118}"/>
              </a:ext>
            </a:extLst>
          </p:cNvPr>
          <p:cNvSpPr txBox="1"/>
          <p:nvPr/>
        </p:nvSpPr>
        <p:spPr>
          <a:xfrm>
            <a:off x="273039" y="5550573"/>
            <a:ext cx="35868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30000" dirty="0"/>
              <a:t>1</a:t>
            </a:r>
            <a:r>
              <a:rPr lang="en-US" sz="1000" dirty="0"/>
              <a:t> </a:t>
            </a:r>
            <a:r>
              <a:rPr lang="en-US" sz="1000" dirty="0">
                <a:hlinkClick r:id="rId7"/>
              </a:rPr>
              <a:t>https://bit.ly/3mKbdoo</a:t>
            </a:r>
            <a:r>
              <a:rPr lang="en-US" sz="1000" dirty="0"/>
              <a:t>, </a:t>
            </a:r>
            <a:r>
              <a:rPr lang="en-US" sz="1000" dirty="0">
                <a:hlinkClick r:id="rId8"/>
              </a:rPr>
              <a:t>https://bit.ly/3wYWc71</a:t>
            </a:r>
            <a:endParaRPr lang="en-US" sz="1000" dirty="0"/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 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Latest date COVID data collected: 12/4/2020</a:t>
            </a:r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3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 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  <a:hlinkClick r:id="rId9"/>
              </a:rPr>
              <a:t>https://bit.ly/3agLTBj</a:t>
            </a:r>
            <a:endParaRPr lang="en-AU" sz="1000" b="1" dirty="0">
              <a:solidFill>
                <a:srgbClr val="002060"/>
              </a:solidFill>
              <a:latin typeface="Quattrocento Sans"/>
              <a:sym typeface="Quattrocento Sans"/>
            </a:endParaRPr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4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 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  <a:hlinkClick r:id="rId10"/>
              </a:rPr>
              <a:t>https://brook.gs/3acuhqs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, 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  <a:hlinkClick r:id="rId11"/>
              </a:rPr>
              <a:t>https://bit.ly/3x89YnZ</a:t>
            </a:r>
            <a:endParaRPr lang="en-AU" sz="1000" b="1" dirty="0">
              <a:solidFill>
                <a:srgbClr val="002060"/>
              </a:solidFill>
              <a:latin typeface="Quattrocento Sans"/>
              <a:sym typeface="Quattrocento Sans"/>
            </a:endParaRPr>
          </a:p>
        </p:txBody>
      </p:sp>
      <p:sp>
        <p:nvSpPr>
          <p:cNvPr id="43" name="Google Shape;64;p2">
            <a:extLst>
              <a:ext uri="{FF2B5EF4-FFF2-40B4-BE49-F238E27FC236}">
                <a16:creationId xmlns:a16="http://schemas.microsoft.com/office/drawing/2014/main" id="{41F82A05-20C9-C74B-8D41-AD2CD4CB40D7}"/>
              </a:ext>
            </a:extLst>
          </p:cNvPr>
          <p:cNvSpPr txBox="1"/>
          <p:nvPr/>
        </p:nvSpPr>
        <p:spPr>
          <a:xfrm>
            <a:off x="252983" y="4184746"/>
            <a:ext cx="3621099" cy="1272103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Prioritize </a:t>
            </a: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ccine delivery to vulnerable counties</a:t>
            </a:r>
            <a:b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Partner with community leaders in education to defuse mistrust</a:t>
            </a:r>
            <a:r>
              <a:rPr lang="en-US" sz="1000" b="1" baseline="30000" dirty="0">
                <a:solidFill>
                  <a:schemeClr val="dk1"/>
                </a:solidFill>
              </a:rPr>
              <a:t>3</a:t>
            </a:r>
            <a:br>
              <a:rPr lang="en-US" sz="1000" b="1" dirty="0">
                <a:solidFill>
                  <a:schemeClr val="dk1"/>
                </a:solidFill>
              </a:rPr>
            </a:br>
            <a:endParaRPr lang="en-US" sz="1000" b="1" dirty="0">
              <a:solidFill>
                <a:schemeClr val="dk1"/>
              </a:solidFill>
            </a:endParaRPr>
          </a:p>
          <a:p>
            <a:pPr marL="228600" lvl="0" indent="-228600"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Use more federal resources per capita to help address inequality that caused vulnerability</a:t>
            </a:r>
            <a:r>
              <a:rPr lang="en-US" sz="1000" b="1" baseline="30000" dirty="0">
                <a:solidFill>
                  <a:schemeClr val="dk1"/>
                </a:solidFill>
              </a:rPr>
              <a:t>4</a:t>
            </a:r>
            <a:br>
              <a:rPr lang="en-US" sz="1000" b="1" baseline="30000" dirty="0">
                <a:solidFill>
                  <a:schemeClr val="dk1"/>
                </a:solidFill>
              </a:rPr>
            </a:br>
            <a:endParaRPr lang="en-US" sz="1000" b="1" baseline="30000" dirty="0">
              <a:solidFill>
                <a:schemeClr val="dk1"/>
              </a:solidFill>
            </a:endParaRPr>
          </a:p>
        </p:txBody>
      </p:sp>
      <p:sp>
        <p:nvSpPr>
          <p:cNvPr id="44" name="Google Shape;66;p2">
            <a:extLst>
              <a:ext uri="{FF2B5EF4-FFF2-40B4-BE49-F238E27FC236}">
                <a16:creationId xmlns:a16="http://schemas.microsoft.com/office/drawing/2014/main" id="{0EF69E41-16A0-D343-807E-FF7F28B77044}"/>
              </a:ext>
            </a:extLst>
          </p:cNvPr>
          <p:cNvSpPr/>
          <p:nvPr/>
        </p:nvSpPr>
        <p:spPr>
          <a:xfrm>
            <a:off x="266966" y="3581595"/>
            <a:ext cx="3347265" cy="44038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duce COVID deaths by increasing vaccination rate to the national average </a:t>
            </a: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y Q3 en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15C8BA-28C7-1343-AA77-FAC30A3D4086}"/>
              </a:ext>
            </a:extLst>
          </p:cNvPr>
          <p:cNvSpPr txBox="1"/>
          <p:nvPr/>
        </p:nvSpPr>
        <p:spPr>
          <a:xfrm>
            <a:off x="3144153" y="1210908"/>
            <a:ext cx="16040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with COVID death rate*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C152E-49B4-BA47-A1A2-C1EF71E29404}"/>
              </a:ext>
            </a:extLst>
          </p:cNvPr>
          <p:cNvSpPr txBox="1"/>
          <p:nvPr/>
        </p:nvSpPr>
        <p:spPr>
          <a:xfrm>
            <a:off x="2582200" y="1056069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Coefficient of correlation</a:t>
            </a:r>
          </a:p>
        </p:txBody>
      </p:sp>
      <p:pic>
        <p:nvPicPr>
          <p:cNvPr id="5" name="Picture 4" descr="Chart, bar chart, funnel chart&#10;&#10;Description automatically generated">
            <a:extLst>
              <a:ext uri="{FF2B5EF4-FFF2-40B4-BE49-F238E27FC236}">
                <a16:creationId xmlns:a16="http://schemas.microsoft.com/office/drawing/2014/main" id="{DE7A5712-4D4D-0545-9978-F15B4AA044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97999" y="3457589"/>
            <a:ext cx="4980961" cy="24469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6EBAB8-B64A-354D-98F5-8B38FB27CA7C}"/>
              </a:ext>
            </a:extLst>
          </p:cNvPr>
          <p:cNvSpPr txBox="1"/>
          <p:nvPr/>
        </p:nvSpPr>
        <p:spPr>
          <a:xfrm>
            <a:off x="6407456" y="3457589"/>
            <a:ext cx="162046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aseline="30000" dirty="0"/>
              <a:t>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4706120-07A2-424D-8110-86A85A6BB76D}"/>
              </a:ext>
            </a:extLst>
          </p:cNvPr>
          <p:cNvSpPr txBox="1"/>
          <p:nvPr/>
        </p:nvSpPr>
        <p:spPr>
          <a:xfrm>
            <a:off x="252983" y="6291938"/>
            <a:ext cx="2659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*Percent of population that died from COVI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southern US contains many of the counties with both highest COVID death rates and populations facing at-risk factors.</a:t>
            </a:r>
            <a:endParaRPr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49A4EC94-82D4-CE4F-9094-87A803E7A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4569" y="3875087"/>
            <a:ext cx="1193800" cy="1638300"/>
          </a:xfrm>
          <a:prstGeom prst="rect">
            <a:avLst/>
          </a:prstGeom>
        </p:spPr>
      </p:pic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8330BB74-1390-9D44-9A0F-1F6FB0FC83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468" y="1136114"/>
            <a:ext cx="8530001" cy="4414825"/>
          </a:xfrm>
          <a:prstGeom prst="rect">
            <a:avLst/>
          </a:prstGeom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343D79B3-C248-FA4C-A0D8-29EE295480F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785" t="4711" b="4012"/>
          <a:stretch/>
        </p:blipFill>
        <p:spPr>
          <a:xfrm>
            <a:off x="7759700" y="4165456"/>
            <a:ext cx="1019270" cy="13854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E6A34A1-6882-AE4A-8A98-A9297FDC5B42}"/>
              </a:ext>
            </a:extLst>
          </p:cNvPr>
          <p:cNvSpPr txBox="1"/>
          <p:nvPr/>
        </p:nvSpPr>
        <p:spPr>
          <a:xfrm>
            <a:off x="85725" y="5694355"/>
            <a:ext cx="87899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ver half of counties with COVID death rate of 0.37% or higher, shown in red, are in the south regio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27BF6E-B038-C040-9DBD-95C3A28A2678}"/>
              </a:ext>
            </a:extLst>
          </p:cNvPr>
          <p:cNvSpPr txBox="1"/>
          <p:nvPr/>
        </p:nvSpPr>
        <p:spPr>
          <a:xfrm>
            <a:off x="85725" y="6032151"/>
            <a:ext cx="56337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rgbClr val="002060"/>
                </a:solidFill>
                <a:latin typeface="Quattrocento Sans"/>
                <a:sym typeface="Quattrocento Sans"/>
              </a:rPr>
              <a:t>Map for AK, HI:  </a:t>
            </a:r>
            <a:r>
              <a:rPr lang="en-AU" b="1" dirty="0">
                <a:solidFill>
                  <a:srgbClr val="002060"/>
                </a:solidFill>
                <a:latin typeface="Quattrocento Sans"/>
                <a:sym typeface="Quattrocento Sans"/>
                <a:hlinkClick r:id="rId6"/>
              </a:rPr>
              <a:t>https://tabsoft.co/3dYTbuA</a:t>
            </a:r>
            <a:endParaRPr lang="en-AU" b="1" dirty="0">
              <a:solidFill>
                <a:srgbClr val="002060"/>
              </a:solidFill>
              <a:latin typeface="Quattrocento Sans"/>
              <a:sym typeface="Quattrocento Sans"/>
            </a:endParaRP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5AEA50-564A-FA4D-82EA-45B65ABEEC94}"/>
              </a:ext>
            </a:extLst>
          </p:cNvPr>
          <p:cNvSpPr txBox="1"/>
          <p:nvPr/>
        </p:nvSpPr>
        <p:spPr>
          <a:xfrm>
            <a:off x="248969" y="4483110"/>
            <a:ext cx="1048589" cy="882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ercent deaths from COVID in US counties</a:t>
            </a:r>
            <a:r>
              <a:rPr lang="en-US" sz="1100" baseline="30000" dirty="0">
                <a:solidFill>
                  <a:schemeClr val="tx1"/>
                </a:solidFill>
              </a:rPr>
              <a:t>2,3</a:t>
            </a:r>
          </a:p>
          <a:p>
            <a:endParaRPr lang="en-US" sz="1100" baseline="3000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503E11-E251-3D44-A1B1-CC1C1F8180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6057" y="3297237"/>
            <a:ext cx="114300" cy="127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8039E35-2387-5A4B-8228-7FD33B8B1F8C}"/>
              </a:ext>
            </a:extLst>
          </p:cNvPr>
          <p:cNvSpPr txBox="1"/>
          <p:nvPr/>
        </p:nvSpPr>
        <p:spPr>
          <a:xfrm>
            <a:off x="7790357" y="3202829"/>
            <a:ext cx="922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Percent deaths from COVID 0.37% or more</a:t>
            </a:r>
          </a:p>
        </p:txBody>
      </p:sp>
    </p:spTree>
    <p:extLst>
      <p:ext uri="{BB962C8B-B14F-4D97-AF65-F5344CB8AC3E}">
        <p14:creationId xmlns:p14="http://schemas.microsoft.com/office/powerpoint/2010/main" val="91021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800" dirty="0">
                <a:solidFill>
                  <a:schemeClr val="accent3"/>
                </a:solidFill>
              </a:rPr>
              <a:t>Among the categories of societal factors examined, the racial percentages of counties account for three of the five strongest predictors of COVID death rate.</a:t>
            </a:r>
            <a:endParaRPr sz="1800" dirty="0">
              <a:solidFill>
                <a:schemeClr val="accent3"/>
              </a:solidFill>
            </a:endParaRP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F95D1CE-7953-DF46-9068-57CAE22515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224" r="1" b="36510"/>
          <a:stretch/>
        </p:blipFill>
        <p:spPr>
          <a:xfrm>
            <a:off x="1250066" y="1965417"/>
            <a:ext cx="2298730" cy="2866137"/>
          </a:xfrm>
          <a:prstGeom prst="rect">
            <a:avLst/>
          </a:prstGeom>
        </p:spPr>
      </p:pic>
      <p:sp>
        <p:nvSpPr>
          <p:cNvPr id="11" name="Google Shape;67;p2">
            <a:extLst>
              <a:ext uri="{FF2B5EF4-FFF2-40B4-BE49-F238E27FC236}">
                <a16:creationId xmlns:a16="http://schemas.microsoft.com/office/drawing/2014/main" id="{8E7682A0-7F4B-7B45-9BD0-D40EFF66E3D5}"/>
              </a:ext>
            </a:extLst>
          </p:cNvPr>
          <p:cNvSpPr txBox="1"/>
          <p:nvPr/>
        </p:nvSpPr>
        <p:spPr>
          <a:xfrm>
            <a:off x="4195775" y="1673314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Black population links relatively strongly with COVID death rate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minorities follows close behind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Counties with higher percentage white residents have a tendency toward lower COVID death rates.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12" name="Google Shape;67;p2">
            <a:extLst>
              <a:ext uri="{FF2B5EF4-FFF2-40B4-BE49-F238E27FC236}">
                <a16:creationId xmlns:a16="http://schemas.microsoft.com/office/drawing/2014/main" id="{C13157D5-C6D5-0342-BFBD-FB5DC3E76FC8}"/>
              </a:ext>
            </a:extLst>
          </p:cNvPr>
          <p:cNvSpPr txBox="1"/>
          <p:nvPr/>
        </p:nvSpPr>
        <p:spPr>
          <a:xfrm>
            <a:off x="4195775" y="3677532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>
              <a:lnSpc>
                <a:spcPct val="115000"/>
              </a:lnSpc>
              <a:buSzPct val="150000"/>
            </a:pPr>
            <a:r>
              <a:rPr lang="en-US" sz="1100" b="1" dirty="0"/>
              <a:t>Percent Black accounts for most of the percent minorities correlation:​</a:t>
            </a:r>
          </a:p>
          <a:p>
            <a:pPr marL="330200" indent="-171450">
              <a:lnSpc>
                <a:spcPct val="115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Latinx (Hispanic) makeup of counties is shown to correlate with COVID death rate at a mild 0.15; other races at almost 0.</a:t>
            </a:r>
            <a:endParaRPr lang="en-US" b="1" dirty="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D0C7-366C-FB46-854A-908308E9C645}"/>
              </a:ext>
            </a:extLst>
          </p:cNvPr>
          <p:cNvSpPr txBox="1"/>
          <p:nvPr/>
        </p:nvSpPr>
        <p:spPr>
          <a:xfrm>
            <a:off x="125623" y="6324600"/>
            <a:ext cx="62751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s: </a:t>
            </a:r>
            <a:r>
              <a:rPr lang="en-US" sz="1000" dirty="0">
                <a:hlinkClick r:id="rId4"/>
              </a:rPr>
              <a:t>https://bit.ly/3mKbdoo</a:t>
            </a:r>
            <a:r>
              <a:rPr lang="en-US" sz="1000" dirty="0"/>
              <a:t>, </a:t>
            </a:r>
            <a:r>
              <a:rPr lang="en-US" sz="1000" dirty="0">
                <a:hlinkClick r:id="rId5"/>
              </a:rPr>
              <a:t>https://bit.ly/3wYWc71</a:t>
            </a:r>
            <a:endParaRPr lang="en-US" sz="1000" dirty="0"/>
          </a:p>
          <a:p>
            <a:endParaRPr lang="en-US" sz="1000" dirty="0"/>
          </a:p>
          <a:p>
            <a:endParaRPr 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A1C88D-442F-F24F-8059-2377F1289A2F}"/>
              </a:ext>
            </a:extLst>
          </p:cNvPr>
          <p:cNvSpPr txBox="1"/>
          <p:nvPr/>
        </p:nvSpPr>
        <p:spPr>
          <a:xfrm>
            <a:off x="2802980" y="1673314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62CBE5-4603-074D-8421-122035127A29}"/>
              </a:ext>
            </a:extLst>
          </p:cNvPr>
          <p:cNvSpPr txBox="1"/>
          <p:nvPr/>
        </p:nvSpPr>
        <p:spPr>
          <a:xfrm>
            <a:off x="1483808" y="1476512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3972683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>
                <a:solidFill>
                  <a:schemeClr val="accent3"/>
                </a:solidFill>
              </a:rPr>
              <a:t>Structural racism persists: many counties with comparatively high COVID death rates have higher Black populations and lower white ones.</a:t>
            </a:r>
            <a:r>
              <a:rPr lang="en-US" sz="1800" baseline="30000" dirty="0">
                <a:solidFill>
                  <a:schemeClr val="accent3"/>
                </a:solidFill>
              </a:rPr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sp>
        <p:nvSpPr>
          <p:cNvPr id="14" name="Google Shape;81;p8">
            <a:extLst>
              <a:ext uri="{FF2B5EF4-FFF2-40B4-BE49-F238E27FC236}">
                <a16:creationId xmlns:a16="http://schemas.microsoft.com/office/drawing/2014/main" id="{3A26340E-1288-FD46-8D55-01E9F3C6BC53}"/>
              </a:ext>
            </a:extLst>
          </p:cNvPr>
          <p:cNvSpPr txBox="1"/>
          <p:nvPr/>
        </p:nvSpPr>
        <p:spPr>
          <a:xfrm>
            <a:off x="5397498" y="889242"/>
            <a:ext cx="2912016" cy="2733634"/>
          </a:xfrm>
          <a:prstGeom prst="rect">
            <a:avLst/>
          </a:prstGeom>
          <a:solidFill>
            <a:srgbClr val="FBC14E">
              <a:alpha val="4000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b="1" dirty="0"/>
              <a:t>Maps are filtered for </a:t>
            </a:r>
            <a:r>
              <a:rPr lang="en-US" sz="1100" dirty="0"/>
              <a:t>COVID death rate of 0.2% or more</a:t>
            </a:r>
            <a:r>
              <a:rPr lang="en-US" sz="1100" b="1" dirty="0"/>
              <a:t>.</a:t>
            </a:r>
            <a:r>
              <a:rPr lang="en-US" sz="1100" baseline="30000" dirty="0"/>
              <a:t>2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200" dirty="0"/>
              <a:t>Many counties with high death rates also are high percent Black.</a:t>
            </a:r>
            <a:br>
              <a:rPr lang="en-US" sz="1200" dirty="0"/>
            </a:br>
            <a:endParaRPr lang="en-US" sz="12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200" dirty="0"/>
              <a:t>Most counties in upper range of COVID death rate are low percent white (south region)</a:t>
            </a:r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lang="en-US" sz="12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200" dirty="0"/>
              <a:t>Some southwest counties are also low percent white. They are high percent Latinx.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sz="1100" dirty="0"/>
          </a:p>
        </p:txBody>
      </p:sp>
      <p:sp>
        <p:nvSpPr>
          <p:cNvPr id="17" name="Google Shape;64;p2">
            <a:extLst>
              <a:ext uri="{FF2B5EF4-FFF2-40B4-BE49-F238E27FC236}">
                <a16:creationId xmlns:a16="http://schemas.microsoft.com/office/drawing/2014/main" id="{A7841AF5-D42F-D442-B612-BE61F8E1A4D9}"/>
              </a:ext>
            </a:extLst>
          </p:cNvPr>
          <p:cNvSpPr txBox="1"/>
          <p:nvPr/>
        </p:nvSpPr>
        <p:spPr>
          <a:xfrm>
            <a:off x="5397496" y="4569533"/>
            <a:ext cx="2930084" cy="1384954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350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endParaRPr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dk1"/>
                </a:solidFill>
              </a:rPr>
              <a:t>Deploy mobile vaccination units to vulnerable areas</a:t>
            </a:r>
            <a:br>
              <a:rPr lang="en-US" b="1" dirty="0">
                <a:solidFill>
                  <a:schemeClr val="dk1"/>
                </a:solidFill>
              </a:rPr>
            </a:br>
            <a:endParaRPr lang="en-US" b="1" dirty="0">
              <a:solidFill>
                <a:schemeClr val="dk1"/>
              </a:solidFill>
            </a:endParaRPr>
          </a:p>
          <a:p>
            <a:pPr marL="2857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dk1"/>
                </a:solidFill>
              </a:rPr>
              <a:t>Train medical providers to treat all equitably</a:t>
            </a:r>
            <a:r>
              <a:rPr lang="en-US" b="1" baseline="30000" dirty="0">
                <a:solidFill>
                  <a:schemeClr val="dk1"/>
                </a:solidFill>
              </a:rPr>
              <a:t>2</a:t>
            </a:r>
            <a:endParaRPr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66;p2">
            <a:extLst>
              <a:ext uri="{FF2B5EF4-FFF2-40B4-BE49-F238E27FC236}">
                <a16:creationId xmlns:a16="http://schemas.microsoft.com/office/drawing/2014/main" id="{35C42533-2CAE-0C47-94AF-346C9385C2DC}"/>
              </a:ext>
            </a:extLst>
          </p:cNvPr>
          <p:cNvSpPr/>
          <p:nvPr/>
        </p:nvSpPr>
        <p:spPr>
          <a:xfrm>
            <a:off x="5397497" y="4304437"/>
            <a:ext cx="2930085" cy="27089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95BAD6-0E1A-2F43-A716-D6A1CBE97BD2}"/>
              </a:ext>
            </a:extLst>
          </p:cNvPr>
          <p:cNvSpPr/>
          <p:nvPr/>
        </p:nvSpPr>
        <p:spPr>
          <a:xfrm>
            <a:off x="72255" y="611186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>
                <a:hlinkClick r:id="rId3"/>
              </a:rPr>
              <a:t>https://bit.ly/3mKbdoo</a:t>
            </a:r>
            <a:r>
              <a:rPr lang="en-US" sz="800" dirty="0"/>
              <a:t> , </a:t>
            </a:r>
            <a:r>
              <a:rPr lang="en-US" sz="800" dirty="0">
                <a:hlinkClick r:id="rId4"/>
              </a:rPr>
              <a:t>https://bit.ly/3wYWc71</a:t>
            </a:r>
            <a:endParaRPr lang="en-US" sz="800" dirty="0"/>
          </a:p>
          <a:p>
            <a:r>
              <a:rPr lang="en-US" sz="800" baseline="30000" dirty="0"/>
              <a:t>2 </a:t>
            </a:r>
            <a:r>
              <a:rPr lang="en-US" sz="800" dirty="0"/>
              <a:t>Additional maps for this project: </a:t>
            </a:r>
            <a:r>
              <a:rPr lang="en-AU" sz="800" b="1" dirty="0">
                <a:solidFill>
                  <a:srgbClr val="002060"/>
                </a:solidFill>
                <a:latin typeface="Quattrocento Sans"/>
                <a:sym typeface="Quattrocento Sans"/>
                <a:hlinkClick r:id="rId5"/>
              </a:rPr>
              <a:t>https://tabsoft.co/3dYTbuA</a:t>
            </a:r>
            <a:endParaRPr lang="en-US" sz="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E16415-8378-ED4D-B52F-AA31E56E9D3D}"/>
              </a:ext>
            </a:extLst>
          </p:cNvPr>
          <p:cNvSpPr txBox="1"/>
          <p:nvPr/>
        </p:nvSpPr>
        <p:spPr>
          <a:xfrm>
            <a:off x="72255" y="6349720"/>
            <a:ext cx="59465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baseline="30000" dirty="0">
                <a:solidFill>
                  <a:schemeClr val="dk1"/>
                </a:solidFill>
                <a:hlinkClick r:id="rId6"/>
              </a:rPr>
              <a:t>3</a:t>
            </a:r>
            <a:r>
              <a:rPr lang="en-US" sz="800" dirty="0">
                <a:hlinkClick r:id="rId6"/>
              </a:rPr>
              <a:t>https://www.commonwealthfund.org/publications/newsletter-article/2021/jan/medical-mistrust-among-black-americans</a:t>
            </a:r>
            <a:endParaRPr lang="en-US" sz="800" dirty="0"/>
          </a:p>
        </p:txBody>
      </p:sp>
      <p:pic>
        <p:nvPicPr>
          <p:cNvPr id="8" name="Picture 7" descr="Map&#10;&#10;Description automatically generated with medium confidence">
            <a:extLst>
              <a:ext uri="{FF2B5EF4-FFF2-40B4-BE49-F238E27FC236}">
                <a16:creationId xmlns:a16="http://schemas.microsoft.com/office/drawing/2014/main" id="{E4B4E020-45F2-694D-B55B-B63954E0F1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468" y="3477880"/>
            <a:ext cx="4604218" cy="2455583"/>
          </a:xfrm>
          <a:prstGeom prst="rect">
            <a:avLst/>
          </a:prstGeom>
        </p:spPr>
      </p:pic>
      <p:pic>
        <p:nvPicPr>
          <p:cNvPr id="13" name="Picture 12" descr="Chart&#10;&#10;Description automatically generated with medium confidence">
            <a:extLst>
              <a:ext uri="{FF2B5EF4-FFF2-40B4-BE49-F238E27FC236}">
                <a16:creationId xmlns:a16="http://schemas.microsoft.com/office/drawing/2014/main" id="{0507A68E-9663-9B42-8099-DE0EA44CAB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21603" y="5311423"/>
            <a:ext cx="1223074" cy="376975"/>
          </a:xfrm>
          <a:prstGeom prst="rect">
            <a:avLst/>
          </a:prstGeom>
        </p:spPr>
      </p:pic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id="{A2FBB616-F5E6-D54D-9282-5BA2690684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0359" y="923379"/>
            <a:ext cx="4604218" cy="2462721"/>
          </a:xfrm>
          <a:prstGeom prst="rect">
            <a:avLst/>
          </a:prstGeom>
        </p:spPr>
      </p:pic>
      <p:pic>
        <p:nvPicPr>
          <p:cNvPr id="10" name="Picture 9" descr="Chart, timeline, treemap chart&#10;&#10;Description automatically generated">
            <a:extLst>
              <a:ext uri="{FF2B5EF4-FFF2-40B4-BE49-F238E27FC236}">
                <a16:creationId xmlns:a16="http://schemas.microsoft.com/office/drawing/2014/main" id="{DA57DED0-970C-8645-B46B-6E451D3A609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477" t="14495" r="5371" b="7004"/>
          <a:stretch/>
        </p:blipFill>
        <p:spPr>
          <a:xfrm>
            <a:off x="3821603" y="2734150"/>
            <a:ext cx="1189804" cy="349837"/>
          </a:xfrm>
          <a:prstGeom prst="rect">
            <a:avLst/>
          </a:prstGeom>
        </p:spPr>
      </p:pic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52B4A33C-7722-F647-BFE4-CC5ACCF845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52180" y="4102326"/>
            <a:ext cx="679905" cy="1086370"/>
          </a:xfrm>
          <a:prstGeom prst="rect">
            <a:avLst/>
          </a:prstGeom>
        </p:spPr>
      </p:pic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024AB8B9-5CCD-9A41-856F-3018AA22B8E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09215" y="1556000"/>
            <a:ext cx="679905" cy="108637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541DA8-A325-4C46-A72B-D43B51A7F70F}"/>
              </a:ext>
            </a:extLst>
          </p:cNvPr>
          <p:cNvSpPr txBox="1"/>
          <p:nvPr/>
        </p:nvSpPr>
        <p:spPr>
          <a:xfrm>
            <a:off x="3718187" y="3071439"/>
            <a:ext cx="167930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0%.                              8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A54FDC-CA4B-5C4D-B6BD-24E8F21EB8C6}"/>
              </a:ext>
            </a:extLst>
          </p:cNvPr>
          <p:cNvSpPr txBox="1"/>
          <p:nvPr/>
        </p:nvSpPr>
        <p:spPr>
          <a:xfrm>
            <a:off x="3741337" y="5664689"/>
            <a:ext cx="167930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3%.                               98%</a:t>
            </a:r>
          </a:p>
        </p:txBody>
      </p:sp>
    </p:spTree>
    <p:extLst>
      <p:ext uri="{BB962C8B-B14F-4D97-AF65-F5344CB8AC3E}">
        <p14:creationId xmlns:p14="http://schemas.microsoft.com/office/powerpoint/2010/main" val="6205877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/>
              <a:t>Factors related to education, income, and health status also rank as strong predictors of death rate due to COVID.</a:t>
            </a:r>
            <a:r>
              <a:rPr lang="en-US" sz="1800" baseline="30000" dirty="0"/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pic>
        <p:nvPicPr>
          <p:cNvPr id="11" name="Picture 10" descr="Timeline&#10;&#10;Description automatically generated">
            <a:extLst>
              <a:ext uri="{FF2B5EF4-FFF2-40B4-BE49-F238E27FC236}">
                <a16:creationId xmlns:a16="http://schemas.microsoft.com/office/drawing/2014/main" id="{47E27712-6A66-BF4F-9B82-16CD912F94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42" b="17656"/>
          <a:stretch/>
        </p:blipFill>
        <p:spPr>
          <a:xfrm>
            <a:off x="2962429" y="2346939"/>
            <a:ext cx="2359311" cy="4034740"/>
          </a:xfrm>
          <a:prstGeom prst="rect">
            <a:avLst/>
          </a:prstGeom>
        </p:spPr>
      </p:pic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347594A-857A-A64D-B87D-A023261F7B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05" y="2329555"/>
            <a:ext cx="2493151" cy="369355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44BEB07-5B5B-B047-BE48-63DAF63B7BB4}"/>
              </a:ext>
            </a:extLst>
          </p:cNvPr>
          <p:cNvSpPr/>
          <p:nvPr/>
        </p:nvSpPr>
        <p:spPr>
          <a:xfrm>
            <a:off x="172475" y="6211363"/>
            <a:ext cx="63934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/>
              <a:t> </a:t>
            </a:r>
            <a:r>
              <a:rPr lang="en-US" sz="800" dirty="0">
                <a:hlinkClick r:id="rId5"/>
              </a:rPr>
              <a:t>https://bit.ly/3mKbdoo</a:t>
            </a:r>
            <a:r>
              <a:rPr lang="en-US" sz="800" dirty="0"/>
              <a:t> , </a:t>
            </a:r>
            <a:r>
              <a:rPr lang="en-US" sz="800" dirty="0">
                <a:hlinkClick r:id="rId6"/>
              </a:rPr>
              <a:t>https://bit.ly/3wYWc71</a:t>
            </a:r>
            <a:endParaRPr lang="en-US" sz="800" dirty="0"/>
          </a:p>
          <a:p>
            <a:endParaRPr lang="en-US" sz="800" dirty="0"/>
          </a:p>
          <a:p>
            <a:r>
              <a:rPr lang="en-AU" sz="8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r>
              <a:rPr lang="en-US" sz="800" dirty="0"/>
              <a:t>Measures above the note-worthy correlation coefficient parameter of 0.2 as defined by Chris Hui, Springboard course founder</a:t>
            </a:r>
          </a:p>
          <a:p>
            <a:endParaRPr lang="en-US" sz="800" dirty="0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83D554-2D09-1544-BDCD-A8119D0149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653"/>
          <a:stretch/>
        </p:blipFill>
        <p:spPr>
          <a:xfrm>
            <a:off x="6172199" y="2337384"/>
            <a:ext cx="2225939" cy="4149858"/>
          </a:xfrm>
          <a:prstGeom prst="rect">
            <a:avLst/>
          </a:prstGeom>
        </p:spPr>
      </p:pic>
      <p:sp>
        <p:nvSpPr>
          <p:cNvPr id="20" name="Google Shape;67;p2">
            <a:extLst>
              <a:ext uri="{FF2B5EF4-FFF2-40B4-BE49-F238E27FC236}">
                <a16:creationId xmlns:a16="http://schemas.microsoft.com/office/drawing/2014/main" id="{97186876-E3F3-BE4B-8CAA-1B26A8EEE2BA}"/>
              </a:ext>
            </a:extLst>
          </p:cNvPr>
          <p:cNvSpPr txBox="1"/>
          <p:nvPr/>
        </p:nvSpPr>
        <p:spPr>
          <a:xfrm>
            <a:off x="172475" y="869749"/>
            <a:ext cx="8386222" cy="772193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6075" indent="-346075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Percent population with no high school diploma showed the strongest correlation with US county COVID death rates.</a:t>
            </a:r>
          </a:p>
          <a:p>
            <a:pPr marL="346075" indent="-346075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Many income-related county population variables correlated with COVID death rate,</a:t>
            </a:r>
            <a:r>
              <a:rPr lang="en-US" sz="1100" baseline="30000" dirty="0"/>
              <a:t>2</a:t>
            </a:r>
            <a:r>
              <a:rPr lang="en-US" sz="1100" dirty="0"/>
              <a:t> especially children in poverty.</a:t>
            </a:r>
          </a:p>
          <a:p>
            <a:pPr marL="346075" indent="-346075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Health status showed strong correlation as well.</a:t>
            </a:r>
          </a:p>
          <a:p>
            <a:pPr marL="346075" indent="-346075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Prioritize counties high in these risk factors for vaccines and related education.</a:t>
            </a:r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E759FB-DC41-2E44-B51E-645135427920}"/>
              </a:ext>
            </a:extLst>
          </p:cNvPr>
          <p:cNvSpPr txBox="1"/>
          <p:nvPr/>
        </p:nvSpPr>
        <p:spPr>
          <a:xfrm>
            <a:off x="1821480" y="2146884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6A4CD1-08DE-604F-B3BA-83820E253F5D}"/>
              </a:ext>
            </a:extLst>
          </p:cNvPr>
          <p:cNvSpPr txBox="1"/>
          <p:nvPr/>
        </p:nvSpPr>
        <p:spPr>
          <a:xfrm>
            <a:off x="575931" y="1946829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564923A-B1D6-3E43-A5F2-354B3B1022F8}"/>
              </a:ext>
            </a:extLst>
          </p:cNvPr>
          <p:cNvSpPr txBox="1"/>
          <p:nvPr/>
        </p:nvSpPr>
        <p:spPr>
          <a:xfrm>
            <a:off x="4621765" y="2162660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20EE1A-A91E-5A4C-BB43-5742A0D0A809}"/>
              </a:ext>
            </a:extLst>
          </p:cNvPr>
          <p:cNvSpPr txBox="1"/>
          <p:nvPr/>
        </p:nvSpPr>
        <p:spPr>
          <a:xfrm>
            <a:off x="3376216" y="1962605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2817F1-0939-D84A-92F6-38EEB63A3781}"/>
              </a:ext>
            </a:extLst>
          </p:cNvPr>
          <p:cNvSpPr txBox="1"/>
          <p:nvPr/>
        </p:nvSpPr>
        <p:spPr>
          <a:xfrm>
            <a:off x="7638235" y="2108218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C051FE-2A27-9244-9899-939BE13DE432}"/>
              </a:ext>
            </a:extLst>
          </p:cNvPr>
          <p:cNvSpPr txBox="1"/>
          <p:nvPr/>
        </p:nvSpPr>
        <p:spPr>
          <a:xfrm>
            <a:off x="6392686" y="1908163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1293871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strongest predictors of COVID death rate in US counties relate to education, race, and health status. 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05AB2F98-EA47-DD45-8E62-984B07ECB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069" y="1011237"/>
            <a:ext cx="3953818" cy="2289378"/>
          </a:xfrm>
          <a:prstGeom prst="rect">
            <a:avLst/>
          </a:prstGeom>
        </p:spPr>
      </p:pic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D23BD135-06B7-5843-B0FE-97EC6496B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546" y="1011236"/>
            <a:ext cx="3992374" cy="2289377"/>
          </a:xfrm>
          <a:prstGeom prst="rect">
            <a:avLst/>
          </a:prstGeom>
        </p:spPr>
      </p:pic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809A0097-56D0-924A-BEF0-2F7E0876DE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400" y="3317105"/>
            <a:ext cx="3914097" cy="2289378"/>
          </a:xfrm>
          <a:prstGeom prst="rect">
            <a:avLst/>
          </a:prstGeom>
        </p:spPr>
      </p:pic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211075A6-137A-424E-B484-7274A1522E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4947" y="3300613"/>
            <a:ext cx="3957304" cy="23223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95C940-D308-4243-85AC-AFE53F3EC04E}"/>
              </a:ext>
            </a:extLst>
          </p:cNvPr>
          <p:cNvSpPr txBox="1"/>
          <p:nvPr/>
        </p:nvSpPr>
        <p:spPr>
          <a:xfrm>
            <a:off x="5417121" y="5622975"/>
            <a:ext cx="33728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no high school diploma (purpl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Black (blu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white (gre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fair or poor health (orange)</a:t>
            </a:r>
            <a:endParaRPr lang="en-US" sz="1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1E4ED4-8BEF-834C-BDDB-093E7819BB37}"/>
              </a:ext>
            </a:extLst>
          </p:cNvPr>
          <p:cNvSpPr txBox="1"/>
          <p:nvPr/>
        </p:nvSpPr>
        <p:spPr>
          <a:xfrm>
            <a:off x="423069" y="5624335"/>
            <a:ext cx="5056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dk1"/>
                </a:solidFill>
              </a:rPr>
              <a:t>Each plot shows variables correlating most strongly with COVID death rate in counties:</a:t>
            </a:r>
            <a:endParaRPr lang="en-US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73996-9938-4047-AC11-6FD038F99946}"/>
              </a:ext>
            </a:extLst>
          </p:cNvPr>
          <p:cNvSpPr txBox="1"/>
          <p:nvPr/>
        </p:nvSpPr>
        <p:spPr>
          <a:xfrm>
            <a:off x="423069" y="5984111"/>
            <a:ext cx="4994052" cy="2923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 dirty="0"/>
              <a:t>These are the significant factors the data tells us to think about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70237B1D-CD20-C249-8D47-B260A4130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9797" y="1493170"/>
            <a:ext cx="5904802" cy="3155476"/>
          </a:xfrm>
          <a:prstGeom prst="rect">
            <a:avLst/>
          </a:prstGeom>
        </p:spPr>
      </p:pic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>
                <a:solidFill>
                  <a:srgbClr val="002060"/>
                </a:solidFill>
              </a:rPr>
              <a:t>Societal factors in US counties </a:t>
            </a:r>
            <a:r>
              <a:rPr lang="en-US" sz="1600" u="sng" dirty="0">
                <a:solidFill>
                  <a:srgbClr val="002060"/>
                </a:solidFill>
              </a:rPr>
              <a:t>not</a:t>
            </a:r>
            <a:r>
              <a:rPr lang="en-US" sz="1600" dirty="0">
                <a:solidFill>
                  <a:srgbClr val="002060"/>
                </a:solidFill>
              </a:rPr>
              <a:t> linked to COVID death rate: percent over age 65, population density. Timing of stay-at-home order shows small relationship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855FFF48-C7A5-A34F-8016-703B5B4495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924"/>
          <a:stretch/>
        </p:blipFill>
        <p:spPr>
          <a:xfrm>
            <a:off x="114994" y="1429075"/>
            <a:ext cx="2451100" cy="3166514"/>
          </a:xfrm>
          <a:prstGeom prst="rect">
            <a:avLst/>
          </a:prstGeom>
        </p:spPr>
      </p:pic>
      <p:sp>
        <p:nvSpPr>
          <p:cNvPr id="10" name="Google Shape;67;p2">
            <a:extLst>
              <a:ext uri="{FF2B5EF4-FFF2-40B4-BE49-F238E27FC236}">
                <a16:creationId xmlns:a16="http://schemas.microsoft.com/office/drawing/2014/main" id="{EF3BE12F-466C-3F47-B1C6-34415B6826AC}"/>
              </a:ext>
            </a:extLst>
          </p:cNvPr>
          <p:cNvSpPr txBox="1"/>
          <p:nvPr/>
        </p:nvSpPr>
        <p:spPr>
          <a:xfrm>
            <a:off x="194878" y="4832572"/>
            <a:ext cx="3624768" cy="151300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Population density did not link to COVID death rate. </a:t>
            </a:r>
            <a:br>
              <a:rPr lang="en-US" sz="1100" dirty="0"/>
            </a:br>
            <a:endParaRPr lang="en-US" sz="1100" dirty="0"/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Later stay at home orders and higher death rates linked weakly at a 0.15 correlation coefficient.</a:t>
            </a:r>
            <a:br>
              <a:rPr lang="en-US" sz="1100" dirty="0"/>
            </a:br>
            <a:endParaRPr lang="en-US" sz="1100" dirty="0"/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Later orders correlated strongly with percent Black (0.34) and negatively with percent white (-0.24).</a:t>
            </a:r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6226DD-9A00-704A-B555-3F161BD36B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057438" y="3366420"/>
            <a:ext cx="133543" cy="934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4FB4ED-1122-1F44-AF42-20693B57C3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7370" y="3546077"/>
            <a:ext cx="136625" cy="934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8FF73D6-9738-1048-91F8-306DC98748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70993" y="3768920"/>
            <a:ext cx="129011" cy="860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B63271E-FBCD-E84D-A466-99FB1444D4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6288" y="3969178"/>
            <a:ext cx="108316" cy="9026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C5AEDE8-E29A-1549-9147-DA4F3BF8E06E}"/>
              </a:ext>
            </a:extLst>
          </p:cNvPr>
          <p:cNvSpPr txBox="1"/>
          <p:nvPr/>
        </p:nvSpPr>
        <p:spPr>
          <a:xfrm>
            <a:off x="7968527" y="2816911"/>
            <a:ext cx="820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ay at home start: days after 3/17/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6ACB77-2D22-CB4B-ABE6-9ACA454AE15E}"/>
              </a:ext>
            </a:extLst>
          </p:cNvPr>
          <p:cNvSpPr txBox="1"/>
          <p:nvPr/>
        </p:nvSpPr>
        <p:spPr>
          <a:xfrm>
            <a:off x="8225404" y="3295021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0-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BF5B98-9CF8-EC4F-B2F9-E2A7930F79B2}"/>
              </a:ext>
            </a:extLst>
          </p:cNvPr>
          <p:cNvSpPr txBox="1"/>
          <p:nvPr/>
        </p:nvSpPr>
        <p:spPr>
          <a:xfrm>
            <a:off x="8181648" y="3492482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-1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4E4C82-50E3-D04F-B412-1452F5BA89EB}"/>
              </a:ext>
            </a:extLst>
          </p:cNvPr>
          <p:cNvSpPr txBox="1"/>
          <p:nvPr/>
        </p:nvSpPr>
        <p:spPr>
          <a:xfrm>
            <a:off x="8168948" y="3707926"/>
            <a:ext cx="484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4-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1B3309-C7B5-FC4F-BB6B-6BBCB2C48272}"/>
              </a:ext>
            </a:extLst>
          </p:cNvPr>
          <p:cNvSpPr txBox="1"/>
          <p:nvPr/>
        </p:nvSpPr>
        <p:spPr>
          <a:xfrm>
            <a:off x="8129504" y="3907145"/>
            <a:ext cx="7838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No or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6199FA-2B9F-0E4E-A62B-33B3808E5627}"/>
              </a:ext>
            </a:extLst>
          </p:cNvPr>
          <p:cNvSpPr txBox="1"/>
          <p:nvPr/>
        </p:nvSpPr>
        <p:spPr>
          <a:xfrm>
            <a:off x="4218812" y="1222965"/>
            <a:ext cx="5629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y-at-home order date by county</a:t>
            </a:r>
          </a:p>
        </p:txBody>
      </p:sp>
      <p:sp>
        <p:nvSpPr>
          <p:cNvPr id="26" name="Google Shape;64;p2">
            <a:extLst>
              <a:ext uri="{FF2B5EF4-FFF2-40B4-BE49-F238E27FC236}">
                <a16:creationId xmlns:a16="http://schemas.microsoft.com/office/drawing/2014/main" id="{AFF54938-47C1-514B-98A7-5DCD2656EB18}"/>
              </a:ext>
            </a:extLst>
          </p:cNvPr>
          <p:cNvSpPr txBox="1"/>
          <p:nvPr/>
        </p:nvSpPr>
        <p:spPr>
          <a:xfrm>
            <a:off x="5680609" y="6003385"/>
            <a:ext cx="2577268" cy="553957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Raise government commitments to saving Black lives: prioritize vaccines and related education delivery.</a:t>
            </a:r>
            <a:endParaRPr sz="1400"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66;p2">
            <a:extLst>
              <a:ext uri="{FF2B5EF4-FFF2-40B4-BE49-F238E27FC236}">
                <a16:creationId xmlns:a16="http://schemas.microsoft.com/office/drawing/2014/main" id="{EDFB511D-BF1F-F143-95AD-0D88A8A2B8A3}"/>
              </a:ext>
            </a:extLst>
          </p:cNvPr>
          <p:cNvSpPr/>
          <p:nvPr/>
        </p:nvSpPr>
        <p:spPr>
          <a:xfrm>
            <a:off x="5671586" y="5780411"/>
            <a:ext cx="2577268" cy="222974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F4B8F3-68F1-764A-A949-AA45F6C2D865}"/>
              </a:ext>
            </a:extLst>
          </p:cNvPr>
          <p:cNvSpPr txBox="1"/>
          <p:nvPr/>
        </p:nvSpPr>
        <p:spPr>
          <a:xfrm>
            <a:off x="1918931" y="1269036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31139B72-8D71-3A4B-8ED6-3F2A36CE4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949980"/>
              </p:ext>
            </p:extLst>
          </p:nvPr>
        </p:nvGraphicFramePr>
        <p:xfrm>
          <a:off x="4860925" y="4838700"/>
          <a:ext cx="1371990" cy="787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995">
                  <a:extLst>
                    <a:ext uri="{9D8B030D-6E8A-4147-A177-3AD203B41FA5}">
                      <a16:colId xmlns:a16="http://schemas.microsoft.com/office/drawing/2014/main" val="2264089884"/>
                    </a:ext>
                  </a:extLst>
                </a:gridCol>
                <a:gridCol w="685995">
                  <a:extLst>
                    <a:ext uri="{9D8B030D-6E8A-4147-A177-3AD203B41FA5}">
                      <a16:colId xmlns:a16="http://schemas.microsoft.com/office/drawing/2014/main" val="2878947119"/>
                    </a:ext>
                  </a:extLst>
                </a:gridCol>
              </a:tblGrid>
              <a:tr h="37152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Correlation with COVID death ra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52017"/>
                  </a:ext>
                </a:extLst>
              </a:tr>
              <a:tr h="168860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extLst>
                  <a:ext uri="{0D108BD9-81ED-4DB2-BD59-A6C34878D82A}">
                    <a16:rowId xmlns:a16="http://schemas.microsoft.com/office/drawing/2014/main" val="775066447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Later ord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530184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929174A-C777-864E-B00E-62DAB8FF5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465386"/>
              </p:ext>
            </p:extLst>
          </p:nvPr>
        </p:nvGraphicFramePr>
        <p:xfrm>
          <a:off x="7033740" y="4808654"/>
          <a:ext cx="1583406" cy="8032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1703">
                  <a:extLst>
                    <a:ext uri="{9D8B030D-6E8A-4147-A177-3AD203B41FA5}">
                      <a16:colId xmlns:a16="http://schemas.microsoft.com/office/drawing/2014/main" val="3146686724"/>
                    </a:ext>
                  </a:extLst>
                </a:gridCol>
                <a:gridCol w="791703">
                  <a:extLst>
                    <a:ext uri="{9D8B030D-6E8A-4147-A177-3AD203B41FA5}">
                      <a16:colId xmlns:a16="http://schemas.microsoft.com/office/drawing/2014/main" val="330250081"/>
                    </a:ext>
                  </a:extLst>
                </a:gridCol>
              </a:tblGrid>
              <a:tr h="214507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rrelation with later order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8241120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extLst>
                  <a:ext uri="{0D108BD9-81ED-4DB2-BD59-A6C34878D82A}">
                    <a16:rowId xmlns:a16="http://schemas.microsoft.com/office/drawing/2014/main" val="386649501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bla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108981"/>
                  </a:ext>
                </a:extLst>
              </a:tr>
              <a:tr h="1989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whi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-0.2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608518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BB0ED94F-D73F-4949-8F17-F0910FDDD55F}"/>
              </a:ext>
            </a:extLst>
          </p:cNvPr>
          <p:cNvSpPr txBox="1"/>
          <p:nvPr/>
        </p:nvSpPr>
        <p:spPr>
          <a:xfrm>
            <a:off x="673382" y="1068981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3D5665B-C668-0E4A-858E-E32B88697B42}"/>
              </a:ext>
            </a:extLst>
          </p:cNvPr>
          <p:cNvSpPr txBox="1"/>
          <p:nvPr/>
        </p:nvSpPr>
        <p:spPr>
          <a:xfrm>
            <a:off x="155294" y="6491287"/>
            <a:ext cx="3703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ay at home order information: </a:t>
            </a:r>
            <a:r>
              <a:rPr lang="en-US" sz="800" dirty="0">
                <a:hlinkClick r:id="rId9"/>
              </a:rPr>
              <a:t>https://ephtracking.cdc.gov/DataExplorer/</a:t>
            </a:r>
            <a:endParaRPr lang="en-US" sz="800" dirty="0"/>
          </a:p>
          <a:p>
            <a:endParaRPr lang="en-US" sz="800" dirty="0"/>
          </a:p>
        </p:txBody>
      </p:sp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0BAEE2E5-A1D3-7B41-8EAE-3E44CC5D99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47593" y="1461643"/>
            <a:ext cx="577850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ecommendation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2F8DE7-D3F3-9745-883B-5A8289DFB63D}"/>
              </a:ext>
            </a:extLst>
          </p:cNvPr>
          <p:cNvSpPr txBox="1"/>
          <p:nvPr/>
        </p:nvSpPr>
        <p:spPr>
          <a:xfrm>
            <a:off x="187335" y="1270000"/>
            <a:ext cx="860265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isk Profile</a:t>
            </a:r>
          </a:p>
          <a:p>
            <a:r>
              <a:rPr lang="en-US" dirty="0"/>
              <a:t>Counties with higher percentage populations of the following tend to be more vulnerable to COVID death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out a high school diplo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lack Americ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ildren in pover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fair or poor health</a:t>
            </a:r>
          </a:p>
          <a:p>
            <a:r>
              <a:rPr lang="en-US" dirty="0"/>
              <a:t>The US south region holds many, though not all, counties with one or more aspects of this risk profile. </a:t>
            </a:r>
          </a:p>
          <a:p>
            <a:r>
              <a:rPr lang="en-US" dirty="0"/>
              <a:t>(For more maps, see </a:t>
            </a:r>
            <a:r>
              <a:rPr lang="en-AU" b="1" dirty="0">
                <a:solidFill>
                  <a:srgbClr val="002060"/>
                </a:solidFill>
                <a:latin typeface="Quattrocento Sans"/>
                <a:sym typeface="Quattrocento Sans"/>
                <a:hlinkClick r:id="rId3"/>
              </a:rPr>
              <a:t>https://tabsoft.co/3dYTbuA</a:t>
            </a:r>
            <a:r>
              <a:rPr lang="en-AU" b="1" dirty="0">
                <a:solidFill>
                  <a:srgbClr val="002060"/>
                </a:solidFill>
                <a:latin typeface="Quattrocento Sans"/>
                <a:sym typeface="Quattrocento Sans"/>
              </a:rPr>
              <a:t>)</a:t>
            </a:r>
          </a:p>
          <a:p>
            <a:endParaRPr lang="en-US" dirty="0"/>
          </a:p>
          <a:p>
            <a:r>
              <a:rPr lang="en-US" dirty="0"/>
              <a:t>States historically invested the longest in slavery made fewer public good expenditures.</a:t>
            </a:r>
          </a:p>
          <a:p>
            <a:r>
              <a:rPr lang="en-US" dirty="0"/>
              <a:t>Inequalities persist today, impacting those less access to healthcare and education, as well as Black, and low-income populations.</a:t>
            </a:r>
            <a:r>
              <a:rPr lang="en-US" baseline="30000" dirty="0"/>
              <a:t>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AF7DD2-849E-AD43-A391-277B303E23A7}"/>
              </a:ext>
            </a:extLst>
          </p:cNvPr>
          <p:cNvSpPr txBox="1"/>
          <p:nvPr/>
        </p:nvSpPr>
        <p:spPr>
          <a:xfrm>
            <a:off x="171447" y="3963045"/>
            <a:ext cx="83851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commendations with focus on US south fir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iver vaccines and concentrated educational programs to defuse mistrust and mis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federal resources such as National Guard to meet people where they are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3D7DBDED-6992-004F-8989-FE8A11F6B65F}"/>
              </a:ext>
            </a:extLst>
          </p:cNvPr>
          <p:cNvSpPr txBox="1"/>
          <p:nvPr/>
        </p:nvSpPr>
        <p:spPr>
          <a:xfrm>
            <a:off x="171447" y="4857730"/>
            <a:ext cx="838516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medical settings</a:t>
            </a:r>
            <a:r>
              <a:rPr lang="en-US" baseline="30000" dirty="0"/>
              <a:t>2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athy training for providers toward all r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nician/ patient conversations sharing personal stories about medical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king patients their p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ving refunds in response to a bad experi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5BD51D-637C-C845-A199-4D6A5AAF6BEF}"/>
              </a:ext>
            </a:extLst>
          </p:cNvPr>
          <p:cNvSpPr txBox="1"/>
          <p:nvPr/>
        </p:nvSpPr>
        <p:spPr>
          <a:xfrm>
            <a:off x="187335" y="6194426"/>
            <a:ext cx="87899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aseline="30000" dirty="0"/>
              <a:t>1 </a:t>
            </a:r>
            <a:r>
              <a:rPr lang="en-US" sz="800" dirty="0">
                <a:hlinkClick r:id="rId4"/>
              </a:rPr>
              <a:t>McGhee, Heather. _The Sum of Us: What Racism Costs Everyone and How We Can Prosper Together.</a:t>
            </a:r>
          </a:p>
          <a:p>
            <a:r>
              <a:rPr lang="en-US" sz="800" baseline="30000" dirty="0"/>
              <a:t>2</a:t>
            </a:r>
            <a:r>
              <a:rPr lang="en-US" sz="800" dirty="0">
                <a:hlinkClick r:id="rId4"/>
              </a:rPr>
              <a:t>_</a:t>
            </a:r>
            <a:r>
              <a:rPr lang="en-US" sz="800" dirty="0">
                <a:hlinkClick r:id="rId5"/>
              </a:rPr>
              <a:t>https://www.commonwealthfund.org/publications/newsletter-article/2021/jan/medical-mistrust-among-black-americans</a:t>
            </a:r>
            <a:endParaRPr lang="en-US" sz="800" dirty="0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83</TotalTime>
  <Words>1476</Words>
  <Application>Microsoft Macintosh PowerPoint</Application>
  <PresentationFormat>Custom</PresentationFormat>
  <Paragraphs>18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stellar</vt:lpstr>
      <vt:lpstr>Kalinga</vt:lpstr>
      <vt:lpstr>Quattrocento Sans</vt:lpstr>
      <vt:lpstr>Roboto</vt:lpstr>
      <vt:lpstr>Synergy_CF_YNR002</vt:lpstr>
      <vt:lpstr>1_Synergy_CF_YNR002</vt:lpstr>
      <vt:lpstr>TCLayout.ActiveDocument.1</vt:lpstr>
      <vt:lpstr>COVID Deaths &amp; Societal Factors in US – Executive Presentation</vt:lpstr>
      <vt:lpstr>Executive Summary: Which societal factors correlate with COVID death rate in US counties and have value in predicting the geographical areas where most help is needed?</vt:lpstr>
      <vt:lpstr>The southern US contains many of the counties with both highest COVID death rates and populations facing at-risk factors.</vt:lpstr>
      <vt:lpstr>Among the categories of societal factors examined, the racial percentages of counties account for three of the five strongest predictors of COVID death rate.</vt:lpstr>
      <vt:lpstr>Structural racism persists: many counties with comparatively high COVID death rates have higher Black populations and lower white ones.1</vt:lpstr>
      <vt:lpstr>Factors related to education, income, and health status also rank as strong predictors of death rate due to COVID.1</vt:lpstr>
      <vt:lpstr>The strongest predictors of COVID death rate in US counties relate to education, race, and health status. </vt:lpstr>
      <vt:lpstr>Societal factors in US counties not linked to COVID death rate: percent over age 65, population density. Timing of stay-at-home order shows small relationship.</vt:lpstr>
      <vt:lpstr>Recommendations</vt:lpstr>
      <vt:lpstr>Sources</vt:lpstr>
      <vt:lpstr>Sources, continu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Elizabeth Miller</cp:lastModifiedBy>
  <cp:revision>118</cp:revision>
  <dcterms:created xsi:type="dcterms:W3CDTF">2015-09-14T11:37:31Z</dcterms:created>
  <dcterms:modified xsi:type="dcterms:W3CDTF">2021-04-17T14:1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